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102" d="100"/>
          <a:sy n="102" d="100"/>
        </p:scale>
        <p:origin x="876" y="10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FAF956ED-E110-4BBE-B40E-D6A0A43F95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B14F0B45-ED4F-4800-A6CC-5758128C206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7818D585-8FF0-4CA3-80A9-81E5FE3420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8000000000000003</c:v>
                </c:pt>
                <c:pt idx="1">
                  <c:v>0.34</c:v>
                </c:pt>
                <c:pt idx="2">
                  <c:v>0.31</c:v>
                </c:pt>
                <c:pt idx="3">
                  <c:v>0.08</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8%</c:v>
                  </c:pt>
                  <c:pt idx="1">
                    <c:v>34%</c:v>
                  </c:pt>
                  <c:pt idx="2">
                    <c:v>31%</c:v>
                  </c:pt>
                  <c:pt idx="3">
                    <c:v>8%</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5E3DA2D3-3E45-4B04-A0D9-8E6DC1EF07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6ACDC99B-540C-4382-A828-75F4F249A9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B849CA12-BD61-401E-A272-6B9C77D852D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02</c:v>
                </c:pt>
                <c:pt idx="1">
                  <c:v>0.19</c:v>
                </c:pt>
                <c:pt idx="2">
                  <c:v>0.52</c:v>
                </c:pt>
                <c:pt idx="3">
                  <c:v>0.27</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2%</c:v>
                  </c:pt>
                  <c:pt idx="1">
                    <c:v>19%</c:v>
                  </c:pt>
                  <c:pt idx="2">
                    <c:v>52%</c:v>
                  </c:pt>
                  <c:pt idx="3">
                    <c:v>27%</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8</c:v>
                </c:pt>
                <c:pt idx="1">
                  <c:v>0.78</c:v>
                </c:pt>
                <c:pt idx="2">
                  <c:v>0.89</c:v>
                </c:pt>
                <c:pt idx="3">
                  <c:v>0.8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FC66371A-10D7-4D0F-A950-6DAB05F0EC2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C16C0D54-C718-42CE-9284-B212407A30E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B8DD08B3-587B-4524-9E59-FF4B9BA25C4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2</c:v>
                </c:pt>
                <c:pt idx="1">
                  <c:v>0.22</c:v>
                </c:pt>
                <c:pt idx="2">
                  <c:v>0.11</c:v>
                </c:pt>
                <c:pt idx="3">
                  <c:v>0.1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8%</c:v>
                  </c:pt>
                  <c:pt idx="1">
                    <c:v>78%</c:v>
                  </c:pt>
                  <c:pt idx="2">
                    <c:v>89%</c:v>
                  </c:pt>
                  <c:pt idx="3">
                    <c:v>85%</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5</c:v>
                </c:pt>
                <c:pt idx="1">
                  <c:v>0</c:v>
                </c:pt>
                <c:pt idx="2">
                  <c:v>0.82</c:v>
                </c:pt>
                <c:pt idx="3">
                  <c:v>0.88</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20A352F7-337F-4304-A286-8B65E79D8FE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D0604E1C-6CC7-46BB-8055-172788A9530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FFDD2E86-19B1-48D4-AF61-8073834F9AD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DAFE9A78-CEDB-4B95-874C-1A36F9BA722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5</c:v>
                </c:pt>
                <c:pt idx="1">
                  <c:v>0</c:v>
                </c:pt>
                <c:pt idx="2">
                  <c:v>0.18</c:v>
                </c:pt>
                <c:pt idx="3">
                  <c:v>0.12</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5%</c:v>
                  </c:pt>
                  <c:pt idx="1">
                    <c:v>-</c:v>
                  </c:pt>
                  <c:pt idx="2">
                    <c:v>82%</c:v>
                  </c:pt>
                  <c:pt idx="3">
                    <c:v>88%</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7</c:v>
                </c:pt>
                <c:pt idx="1">
                  <c:v>0.83</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4ABD3023-A181-434B-8910-3E2C2B63E4D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62C5EB62-A79B-49ED-B082-086F77B13A9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439BCA1E-584A-44FD-B515-2173ABD9357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3A6479A3-7ADA-4C4F-9FBB-5F5901AB4A0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3</c:v>
                </c:pt>
                <c:pt idx="1">
                  <c:v>0.17</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7%</c:v>
                  </c:pt>
                  <c:pt idx="1">
                    <c:v>83%</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5</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5FD5BC2A-92F8-4FD4-AD49-CD4FA9CA800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81BC5F4E-C101-4A39-AA25-28798691937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5</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5%</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6%</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6</c:v>
                </c:pt>
                <c:pt idx="1">
                  <c:v>0.87</c:v>
                </c:pt>
                <c:pt idx="2">
                  <c:v>0.89</c:v>
                </c:pt>
                <c:pt idx="3">
                  <c:v>0.9</c:v>
                </c:pt>
                <c:pt idx="4">
                  <c:v>0.7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847E15B2-81F4-4E73-834F-B6A34EA0C31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FF041D30-79A9-4CD0-8D28-7E72C211FF1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17F17691-349C-4BA0-B694-6F6706189F8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3416ADA5-BC4D-416F-B5EE-55CCBE7AF12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4000000000000001</c:v>
                </c:pt>
                <c:pt idx="1">
                  <c:v>0.13</c:v>
                </c:pt>
                <c:pt idx="2">
                  <c:v>0.11</c:v>
                </c:pt>
                <c:pt idx="3">
                  <c:v>0.1</c:v>
                </c:pt>
                <c:pt idx="4">
                  <c:v>0.2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6%</c:v>
                  </c:pt>
                  <c:pt idx="1">
                    <c:v>87%</c:v>
                  </c:pt>
                  <c:pt idx="2">
                    <c:v>89%</c:v>
                  </c:pt>
                  <c:pt idx="3">
                    <c:v>90%</c:v>
                  </c:pt>
                  <c:pt idx="4">
                    <c:v>76%</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2</c:v>
                </c:pt>
                <c:pt idx="1">
                  <c:v>0.81</c:v>
                </c:pt>
                <c:pt idx="2">
                  <c:v>0.86</c:v>
                </c:pt>
                <c:pt idx="3">
                  <c:v>0.8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225109ED-4050-40E6-BE53-5DF29721A50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247B66EB-9607-44EA-BCF9-967288C77FA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E2080273-E4A7-4157-BF91-15D6726E4C3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8</c:v>
                </c:pt>
                <c:pt idx="1">
                  <c:v>0.19</c:v>
                </c:pt>
                <c:pt idx="2">
                  <c:v>0.14000000000000001</c:v>
                </c:pt>
                <c:pt idx="3">
                  <c:v>0.1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2%</c:v>
                  </c:pt>
                  <c:pt idx="1">
                    <c:v>81%</c:v>
                  </c:pt>
                  <c:pt idx="2">
                    <c:v>86%</c:v>
                  </c:pt>
                  <c:pt idx="3">
                    <c:v>89%</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7</c:v>
                </c:pt>
                <c:pt idx="1">
                  <c:v>0</c:v>
                </c:pt>
                <c:pt idx="2">
                  <c:v>0.84</c:v>
                </c:pt>
                <c:pt idx="3">
                  <c:v>1</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9E4D967C-E3AA-454E-9238-84A62B86F9E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60DC790A-3338-4A59-B430-225CFEFE707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543D202C-687E-4D86-B2A1-129BE49EA97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F1E79F77-F80E-4EB9-8728-214ACD3EDB3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3</c:v>
                </c:pt>
                <c:pt idx="1">
                  <c:v>0</c:v>
                </c:pt>
                <c:pt idx="2">
                  <c:v>0.16</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7%</c:v>
                  </c:pt>
                  <c:pt idx="1">
                    <c:v>-</c:v>
                  </c:pt>
                  <c:pt idx="2">
                    <c:v>84%</c:v>
                  </c:pt>
                  <c:pt idx="3">
                    <c:v>100%</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2</c:v>
                </c:pt>
                <c:pt idx="1">
                  <c:v>0.89</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672C9F31-878F-4E92-B6CD-901153282E8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8869F14F-8B6C-473A-9715-D9DC46C996C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98A14DCC-BBF3-4D4F-BB11-22F695EDEED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92198BFA-B7DF-4D94-B2DB-75253901E0B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8</c:v>
                </c:pt>
                <c:pt idx="1">
                  <c:v>0.1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2%</c:v>
                  </c:pt>
                  <c:pt idx="1">
                    <c:v>89%</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6</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D32D87E2-C6CC-4817-A0B6-251BBEA5297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10626F1C-C5DC-48D3-A256-496955E9448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400000000000000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6%</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5</c:v>
                </c:pt>
                <c:pt idx="1">
                  <c:v>86</c:v>
                </c:pt>
                <c:pt idx="2">
                  <c:v>2</c:v>
                </c:pt>
                <c:pt idx="3">
                  <c:v>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84</c:v>
                </c:pt>
                <c:pt idx="1">
                  <c:v>10</c:v>
                </c:pt>
                <c:pt idx="2">
                  <c:v>2</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5437BBDA-7049-4C82-8F10-C1C23609E6F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491E5741-1A5F-4073-BDF0-B38CE4488C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D90CED14-24D5-4B1B-9C7A-9FAC01CABB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04038EED-B93D-47A3-8191-1A49DCF8E4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E42C6376-169C-4157-9A6E-5ED318DAFF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48F3C914-289B-4AF2-AC24-C0A7C82EA5A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2</c:v>
                </c:pt>
                <c:pt idx="1">
                  <c:v>4</c:v>
                </c:pt>
                <c:pt idx="2">
                  <c:v>3</c:v>
                </c:pt>
                <c:pt idx="3">
                  <c:v>2</c:v>
                </c:pt>
                <c:pt idx="4">
                  <c:v>3</c:v>
                </c:pt>
                <c:pt idx="5">
                  <c:v>4</c:v>
                </c:pt>
                <c:pt idx="6">
                  <c:v>3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2%</c:v>
                  </c:pt>
                  <c:pt idx="1">
                    <c:v>4%</c:v>
                  </c:pt>
                  <c:pt idx="2">
                    <c:v>3%</c:v>
                  </c:pt>
                  <c:pt idx="3">
                    <c:v>2%</c:v>
                  </c:pt>
                  <c:pt idx="4">
                    <c:v>3%</c:v>
                  </c:pt>
                  <c:pt idx="5">
                    <c:v>4%</c:v>
                  </c:pt>
                  <c:pt idx="6">
                    <c:v>38%</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B3157925-DEC4-4866-A2A3-196830629E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r>
                      <a:rPr lang="en-GB"/>
                      <a:t>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05C-4A2F-9A88-03A72AE7F3F6}"/>
                </c:ext>
              </c:extLst>
            </c:dLbl>
            <c:dLbl>
              <c:idx val="3"/>
              <c:tx>
                <c:rich>
                  <a:bodyPr/>
                  <a:lstStyle/>
                  <a:p>
                    <a:fld id="{7A75EBE3-F734-4E25-AFE6-96146412BB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84620A78-C8A2-4C52-8AA5-78B2E621430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BE75F202-0893-463E-B6D8-DDEC3FF4DAA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D8B0020B-9406-4B55-9CBF-0E46FEC3AE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8</c:v>
                </c:pt>
                <c:pt idx="1">
                  <c:v>7</c:v>
                </c:pt>
                <c:pt idx="2">
                  <c:v>5</c:v>
                </c:pt>
                <c:pt idx="3">
                  <c:v>2</c:v>
                </c:pt>
                <c:pt idx="4">
                  <c:v>13</c:v>
                </c:pt>
                <c:pt idx="5">
                  <c:v>4</c:v>
                </c:pt>
                <c:pt idx="6">
                  <c:v>3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8%</c:v>
                  </c:pt>
                  <c:pt idx="1">
                    <c:v>7%</c:v>
                  </c:pt>
                  <c:pt idx="2">
                    <c:v>5%p</c:v>
                  </c:pt>
                  <c:pt idx="3">
                    <c:v>2%</c:v>
                  </c:pt>
                  <c:pt idx="4">
                    <c:v>13%</c:v>
                  </c:pt>
                  <c:pt idx="5">
                    <c:v>4%</c:v>
                  </c:pt>
                  <c:pt idx="6">
                    <c:v>34%</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5F0DDA22-506D-44F7-9226-D4251A1594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82F4A1B0-BA99-4766-B061-058A5ACFB6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A610CF32-E898-4F7B-850F-8518FC5241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3C18E6F8-98DE-40C4-B3D0-D48A951D81B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098EA24F-56FD-4511-A0F9-A441FA300E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2C41F0BC-AC8C-445A-A4D6-CFF48B120B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5768F2DE-6132-4E10-B2DC-7158F24FA3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4C2B313A-A98A-44C6-944C-DA70E0B38C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4F92635C-3FCF-44C8-8C5C-935C5D0CD8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4E8462E9-0924-42BD-8C86-350B0ECAA2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6999999999999995</c:v>
                </c:pt>
                <c:pt idx="1">
                  <c:v>0.42</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7%</c:v>
                  </c:pt>
                  <c:pt idx="1">
                    <c:v>42%</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7FABA9DC-2FF2-413B-8F05-7CE1232867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9502A15E-A33F-4FD0-82F1-6D62E575ED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6100FF6E-D75B-4EA4-8118-36A469FB3D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FECB2793-06E0-4751-B794-05F9B6FB60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999999999999995</c:v>
                </c:pt>
                <c:pt idx="1">
                  <c:v>0.43</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7%</c:v>
                  </c:pt>
                  <c:pt idx="1">
                    <c:v>43%</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BA6F6574-EA1F-44E6-8D07-D2D0770A0D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EF66ECB5-8280-4C2F-ABD9-271A588A56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2</c:v>
                </c:pt>
                <c:pt idx="1">
                  <c:v>7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2%</c:v>
                  </c:pt>
                  <c:pt idx="1">
                    <c:v>78%</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D8D2D1EC-6BB0-4CD5-9436-D0DEF93194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2E72C82C-0A4B-49F6-9F5C-45B1A046FC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c:v>
                </c:pt>
                <c:pt idx="1">
                  <c:v>9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c:v>
                  </c:pt>
                  <c:pt idx="1">
                    <c:v>94%</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221BE9C1-8959-4224-A094-3C07DBE100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15E32877-3AFF-42E1-988E-3A82BE53DD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D412C21B-782A-4CDD-9988-E6D3047DDC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5E072F41-C0DA-4FFA-B7C0-06999D9E65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r>
                      <a:rPr lang="en-GB"/>
                      <a:t>77%</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fld id="{02677C70-B104-42CB-A569-C52AC41EB7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r>
                      <a:rPr lang="en-GB"/>
                      <a:t>9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73EB-456C-B74D-581899DAC290}"/>
                </c:ext>
              </c:extLst>
            </c:dLbl>
            <c:dLbl>
              <c:idx val="5"/>
              <c:tx>
                <c:rich>
                  <a:bodyPr/>
                  <a:lstStyle/>
                  <a:p>
                    <a:fld id="{F45B8B81-190C-4B7B-91CA-664AF43DC9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BBD1A95E-4E41-409B-98B9-9DE42B34A5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1</c:v>
                </c:pt>
                <c:pt idx="1">
                  <c:v>92</c:v>
                </c:pt>
                <c:pt idx="2">
                  <c:v>77</c:v>
                </c:pt>
                <c:pt idx="3">
                  <c:v>73</c:v>
                </c:pt>
                <c:pt idx="4">
                  <c:v>94</c:v>
                </c:pt>
                <c:pt idx="5">
                  <c:v>32</c:v>
                </c:pt>
                <c:pt idx="6">
                  <c:v>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1%</c:v>
                  </c:pt>
                  <c:pt idx="1">
                    <c:v>92%</c:v>
                  </c:pt>
                  <c:pt idx="2">
                    <c:v>77%q</c:v>
                  </c:pt>
                  <c:pt idx="3">
                    <c:v>73%</c:v>
                  </c:pt>
                  <c:pt idx="4">
                    <c:v>94%p</c:v>
                  </c:pt>
                  <c:pt idx="5">
                    <c:v>32%</c:v>
                  </c:pt>
                  <c:pt idx="6">
                    <c:v>*</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214E358C-60A5-4274-A201-D25B15B91F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1753D425-A076-4893-AEFD-819A133CFF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6360150C-B632-4E0C-9992-E553259D07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0DF84192-1A8F-4B49-ABB4-4CD82FE4925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57673EB6-695D-4F73-9DF9-8ADC448494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F8DFFC5D-7E5F-44A0-BAE7-D939351B19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4DEEFEC6-9DB1-4E9E-948C-5B1987FE8A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0</c:v>
                </c:pt>
                <c:pt idx="1">
                  <c:v>88</c:v>
                </c:pt>
                <c:pt idx="2">
                  <c:v>75</c:v>
                </c:pt>
                <c:pt idx="3">
                  <c:v>67</c:v>
                </c:pt>
                <c:pt idx="4">
                  <c:v>90</c:v>
                </c:pt>
                <c:pt idx="5">
                  <c:v>41</c:v>
                </c:pt>
                <c:pt idx="6">
                  <c:v>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0%</c:v>
                  </c:pt>
                  <c:pt idx="1">
                    <c:v>88%</c:v>
                  </c:pt>
                  <c:pt idx="2">
                    <c:v>75%</c:v>
                  </c:pt>
                  <c:pt idx="3">
                    <c:v>67%</c:v>
                  </c:pt>
                  <c:pt idx="4">
                    <c:v>90%</c:v>
                  </c:pt>
                  <c:pt idx="5">
                    <c:v>41%</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5</c:v>
                </c:pt>
                <c:pt idx="1">
                  <c:v>28</c:v>
                </c:pt>
                <c:pt idx="2">
                  <c:v>12</c:v>
                </c:pt>
                <c:pt idx="3">
                  <c:v>3</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7</c:v>
                </c:pt>
                <c:pt idx="1">
                  <c:v>33</c:v>
                </c:pt>
                <c:pt idx="2">
                  <c:v>13</c:v>
                </c:pt>
                <c:pt idx="3">
                  <c:v>4</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A13FCA59-A672-4F71-B4A7-1742053A187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1B7E8852-60F4-4405-8AF5-6547686A41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8</c:v>
                </c:pt>
                <c:pt idx="1">
                  <c:v>0.02</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8%</c:v>
                  </c:pt>
                  <c:pt idx="1">
                    <c:v>2%</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F301FD8A-0D30-4A62-B3C9-5F2ED6BAAEF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44A8BB9D-8917-4626-9E28-BA34F8A9A3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0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9%</c:v>
                  </c:pt>
                  <c:pt idx="1">
                    <c:v>-</c:v>
                  </c:pt>
                  <c:pt idx="2">
                    <c:v>1%</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8</c:v>
                </c:pt>
                <c:pt idx="1">
                  <c:v>17</c:v>
                </c:pt>
                <c:pt idx="2">
                  <c:v>7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7</c:v>
                </c:pt>
                <c:pt idx="1">
                  <c:v>32</c:v>
                </c:pt>
                <c:pt idx="2">
                  <c:v>6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7</c:v>
                </c:pt>
                <c:pt idx="2">
                  <c:v>30</c:v>
                </c:pt>
                <c:pt idx="3">
                  <c:v>15</c:v>
                </c:pt>
                <c:pt idx="4">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8</c:v>
                </c:pt>
                <c:pt idx="1">
                  <c:v>21</c:v>
                </c:pt>
                <c:pt idx="2">
                  <c:v>20</c:v>
                </c:pt>
                <c:pt idx="3">
                  <c:v>16</c:v>
                </c:pt>
                <c:pt idx="4">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33100000000000002</c:v>
                </c:pt>
                <c:pt idx="1">
                  <c:v>0.21299999999999999</c:v>
                </c:pt>
                <c:pt idx="2">
                  <c:v>0.183</c:v>
                </c:pt>
                <c:pt idx="3">
                  <c:v>0.186</c:v>
                </c:pt>
                <c:pt idx="4">
                  <c:v>8.7999999999999995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441</c:v>
                </c:pt>
                <c:pt idx="1">
                  <c:v>0.17100000000000001</c:v>
                </c:pt>
                <c:pt idx="2">
                  <c:v>0.151</c:v>
                </c:pt>
                <c:pt idx="3">
                  <c:v>0.154</c:v>
                </c:pt>
                <c:pt idx="4">
                  <c:v>8.3000000000000004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1</c:v>
                </c:pt>
                <c:pt idx="2">
                  <c:v>29</c:v>
                </c:pt>
                <c:pt idx="3">
                  <c:v>18</c:v>
                </c:pt>
                <c:pt idx="4">
                  <c:v>3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7</c:v>
                </c:pt>
                <c:pt idx="2">
                  <c:v>21</c:v>
                </c:pt>
                <c:pt idx="3">
                  <c:v>22</c:v>
                </c:pt>
                <c:pt idx="4">
                  <c:v>2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20</c:v>
                </c:pt>
                <c:pt idx="2">
                  <c:v>30</c:v>
                </c:pt>
                <c:pt idx="3">
                  <c:v>17</c:v>
                </c:pt>
                <c:pt idx="4">
                  <c:v>1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2</c:v>
                </c:pt>
                <c:pt idx="1">
                  <c:v>25</c:v>
                </c:pt>
                <c:pt idx="2">
                  <c:v>18</c:v>
                </c:pt>
                <c:pt idx="3">
                  <c:v>16</c:v>
                </c:pt>
                <c:pt idx="4">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68E492ED-EA18-407D-A669-BA1833C1D96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93DF8016-748B-444A-B7BB-26ACFB1BC9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7E737D94-62E1-41FF-8F4A-2D0796397C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2BB37779-ECA5-4E2D-8419-544FAE5ED5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4</c:v>
                </c:pt>
                <c:pt idx="1">
                  <c:v>0</c:v>
                </c:pt>
                <c:pt idx="2">
                  <c:v>0.09</c:v>
                </c:pt>
                <c:pt idx="3">
                  <c:v>0.04</c:v>
                </c:pt>
                <c:pt idx="4">
                  <c:v>0.0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84%</c:v>
                  </c:pt>
                  <c:pt idx="1">
                    <c:v>-</c:v>
                  </c:pt>
                  <c:pt idx="2">
                    <c:v>9%</c:v>
                  </c:pt>
                  <c:pt idx="3">
                    <c:v>4%</c:v>
                  </c:pt>
                  <c:pt idx="4">
                    <c:v>2%</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25B79B0D-1B76-4967-B06F-617CB6900A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8D29CB7F-BBBD-4524-B0F2-9F3B0A0CED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C9BD4578-A6F4-455A-9D3A-0F265CEA35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5D597107-5A58-426A-9DDA-6D8831AA1A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73</c:v>
                </c:pt>
                <c:pt idx="1">
                  <c:v>0.01</c:v>
                </c:pt>
                <c:pt idx="2">
                  <c:v>0.21</c:v>
                </c:pt>
                <c:pt idx="3">
                  <c:v>0.03</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73%</c:v>
                  </c:pt>
                  <c:pt idx="1">
                    <c:v>1%</c:v>
                  </c:pt>
                  <c:pt idx="2">
                    <c:v>21%</c:v>
                  </c:pt>
                  <c:pt idx="3">
                    <c:v>3%</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10</c:v>
                </c:pt>
                <c:pt idx="2">
                  <c:v>29</c:v>
                </c:pt>
                <c:pt idx="3">
                  <c:v>19</c:v>
                </c:pt>
                <c:pt idx="4">
                  <c:v>3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16</c:v>
                </c:pt>
                <c:pt idx="2">
                  <c:v>24</c:v>
                </c:pt>
                <c:pt idx="3">
                  <c:v>17</c:v>
                </c:pt>
                <c:pt idx="4">
                  <c:v>2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3</c:v>
                </c:pt>
                <c:pt idx="1">
                  <c:v>23</c:v>
                </c:pt>
                <c:pt idx="2">
                  <c:v>40</c:v>
                </c:pt>
                <c:pt idx="3">
                  <c:v>2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3</c:v>
                </c:pt>
                <c:pt idx="1">
                  <c:v>34</c:v>
                </c:pt>
                <c:pt idx="2">
                  <c:v>34</c:v>
                </c:pt>
                <c:pt idx="3">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6</c:v>
                </c:pt>
                <c:pt idx="1">
                  <c:v>32</c:v>
                </c:pt>
                <c:pt idx="2">
                  <c:v>13</c:v>
                </c:pt>
                <c:pt idx="3">
                  <c:v>5</c:v>
                </c:pt>
                <c:pt idx="4">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9</c:v>
                </c:pt>
                <c:pt idx="1">
                  <c:v>20</c:v>
                </c:pt>
                <c:pt idx="2">
                  <c:v>5</c:v>
                </c:pt>
                <c:pt idx="3">
                  <c:v>2</c:v>
                </c:pt>
                <c:pt idx="4">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6</c:v>
                </c:pt>
                <c:pt idx="1">
                  <c:v>47</c:v>
                </c:pt>
                <c:pt idx="2">
                  <c:v>15</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6</c:v>
                </c:pt>
                <c:pt idx="1">
                  <c:v>44</c:v>
                </c:pt>
                <c:pt idx="2">
                  <c:v>15</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6</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634C46BF-76AC-4429-87A5-799F3D6ACB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09625A1F-4D8D-41CE-BCF1-9559369DBC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4ECF21A3-D5AB-4BB3-95E8-BB5A38C4F9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A584F115-69D4-4B90-B774-AB1EF5E4A6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1%</c:v>
                  </c:pt>
                  <c:pt idx="1">
                    <c:v>19%</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9B037CDD-66BC-490B-8970-F354A52302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91F0CE40-EF3F-400B-8310-D5EF92C967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1</c:v>
                </c:pt>
                <c:pt idx="1">
                  <c:v>3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1%</c:v>
                  </c:pt>
                  <c:pt idx="1">
                    <c:v>39%</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7D5CC57B-C3DD-4261-8460-58A38970AC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A5678C29-2D4A-4E07-B613-C1112F61DE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798C92EC-3E52-4247-ADEE-F9F07093ED1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B12B41FD-59C0-470F-ADA7-AD5BB873708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5</c:v>
                </c:pt>
                <c:pt idx="1">
                  <c:v>6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5%</c:v>
                  </c:pt>
                  <c:pt idx="1">
                    <c:v>65%</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7FED9706-9C04-49F1-BC69-30247EA0EA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9A5343C1-D31D-4A87-A7E7-8FFDAB0BE3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1</c:v>
                </c:pt>
                <c:pt idx="1">
                  <c:v>5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1%</c:v>
                  </c:pt>
                  <c:pt idx="1">
                    <c:v>59%</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A3D45434-DE49-4BD1-9CFB-4DE2E93DA6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E09FBFFF-4794-4EA6-8FBD-65FB07CECC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1</c:v>
                </c:pt>
                <c:pt idx="1">
                  <c:v>5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1%</c:v>
                  </c:pt>
                  <c:pt idx="1">
                    <c:v>59%</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29B678F7-B0B8-44C0-B9B1-4A6803367A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6F67CF96-5026-4409-B9E3-02BF9DEE1F0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0</c:v>
                </c:pt>
                <c:pt idx="1">
                  <c:v>7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0%</c:v>
                  </c:pt>
                  <c:pt idx="1">
                    <c:v>70%</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DD7A5DB1-F4DE-40D1-9457-12EE4F8050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54B41745-E253-4EED-B77F-48763003A4D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B45B6A07-7FD2-4651-A178-F37CF203C1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71%</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2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1</c:v>
                </c:pt>
                <c:pt idx="1">
                  <c:v>2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1%q</c:v>
                  </c:pt>
                  <c:pt idx="1">
                    <c:v>29%p</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CE14AE20-5489-4EF2-871F-63BA29A5E2B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2B9D99EE-1259-488E-A5FB-586B5FA03A2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0</c:v>
                </c:pt>
                <c:pt idx="1">
                  <c:v>4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0%</c:v>
                  </c:pt>
                  <c:pt idx="1">
                    <c:v>40%</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DE12B8F5-9BB8-492B-B10B-168501ED96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2%</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3C56-4EA4-9136-CE48FDDBE16D}"/>
                </c:ext>
              </c:extLst>
            </c:dLbl>
            <c:dLbl>
              <c:idx val="1"/>
              <c:tx>
                <c:rich>
                  <a:bodyPr/>
                  <a:lstStyle/>
                  <a:p>
                    <a:r>
                      <a:rPr lang="en-GB"/>
                      <a:t>5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2</c:v>
                </c:pt>
                <c:pt idx="1">
                  <c:v>5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2%q</c:v>
                  </c:pt>
                  <c:pt idx="1">
                    <c:v>58%p</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2786D637-F229-4139-AE93-11920B3FF24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CB45A86B-6FBC-4905-897F-5F0F810D39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13B7BD08-B17F-42EE-A1D5-CA732AB1F1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51F2B7B3-94F7-47BB-A0AC-C23DE4557AB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3</c:v>
                </c:pt>
                <c:pt idx="1">
                  <c:v>2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3%</c:v>
                  </c:pt>
                  <c:pt idx="1">
                    <c:v>27%</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1</c:v>
                </c:pt>
                <c:pt idx="1">
                  <c:v>30</c:v>
                </c:pt>
                <c:pt idx="2">
                  <c:v>1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8</c:v>
                </c:pt>
                <c:pt idx="1">
                  <c:v>40</c:v>
                </c:pt>
                <c:pt idx="2">
                  <c:v>1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US"/>
                      <a:t>56%</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0-7519-4C1F-9643-9A55D10271AC}"/>
                </c:ext>
              </c:extLst>
            </c:dLbl>
            <c:dLbl>
              <c:idx val="1"/>
              <c:tx>
                <c:rich>
                  <a:bodyPr/>
                  <a:lstStyle/>
                  <a:p>
                    <a:fld id="{9239986C-6D7C-477F-B333-5A72A0D4A9E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r>
                      <a:rPr lang="en-GB"/>
                      <a:t>5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519-4C1F-9643-9A55D10271AC}"/>
                </c:ext>
              </c:extLst>
            </c:dLbl>
            <c:dLbl>
              <c:idx val="3"/>
              <c:tx>
                <c:rich>
                  <a:bodyPr/>
                  <a:lstStyle/>
                  <a:p>
                    <a:fld id="{F4AE05B9-43C5-4CD4-B6F1-0C3BD18CB8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r>
                      <a:rPr lang="en-GB"/>
                      <a:t>1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7519-4C1F-9643-9A55D10271AC}"/>
                </c:ext>
              </c:extLst>
            </c:dLbl>
            <c:dLbl>
              <c:idx val="5"/>
              <c:tx>
                <c:rich>
                  <a:bodyPr/>
                  <a:lstStyle/>
                  <a:p>
                    <a:fld id="{F09A26FB-B405-4A97-A176-7D1144DC65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C49EB259-2E3A-46CE-965D-0C80122FCF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56</c:v>
                </c:pt>
                <c:pt idx="1">
                  <c:v>8</c:v>
                </c:pt>
                <c:pt idx="2">
                  <c:v>54</c:v>
                </c:pt>
                <c:pt idx="3">
                  <c:v>33</c:v>
                </c:pt>
                <c:pt idx="4">
                  <c:v>13</c:v>
                </c:pt>
                <c:pt idx="5">
                  <c:v>17</c:v>
                </c:pt>
                <c:pt idx="6">
                  <c:v>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6%q</c:v>
                  </c:pt>
                  <c:pt idx="1">
                    <c:v>8%</c:v>
                  </c:pt>
                  <c:pt idx="2">
                    <c:v>54%q</c:v>
                  </c:pt>
                  <c:pt idx="3">
                    <c:v>33%</c:v>
                  </c:pt>
                  <c:pt idx="4">
                    <c:v>13%q</c:v>
                  </c:pt>
                  <c:pt idx="5">
                    <c:v>17%</c:v>
                  </c:pt>
                  <c:pt idx="6">
                    <c:v>7%</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E8AC4452-3E6B-4C7D-8E20-E819F453BE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A29A8B54-F80F-43C6-BFCA-DF4BABAEDD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A80414FC-ACB3-4E75-B1AE-0B6211BE7D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06D6FF6A-6248-4D3C-B924-82A45988B6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6339A1D0-0465-4A31-A53F-920B67CD33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0B2E151A-EDDB-4779-850B-A4065475F7C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8</c:v>
                </c:pt>
                <c:pt idx="1">
                  <c:v>17</c:v>
                </c:pt>
                <c:pt idx="2">
                  <c:v>35</c:v>
                </c:pt>
                <c:pt idx="3">
                  <c:v>42</c:v>
                </c:pt>
                <c:pt idx="4">
                  <c:v>8</c:v>
                </c:pt>
                <c:pt idx="5">
                  <c:v>16</c:v>
                </c:pt>
                <c:pt idx="6">
                  <c:v>1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8%</c:v>
                  </c:pt>
                  <c:pt idx="1">
                    <c:v>17%</c:v>
                  </c:pt>
                  <c:pt idx="2">
                    <c:v>35%</c:v>
                  </c:pt>
                  <c:pt idx="3">
                    <c:v>42%</c:v>
                  </c:pt>
                  <c:pt idx="4">
                    <c:v>8%</c:v>
                  </c:pt>
                  <c:pt idx="5">
                    <c:v>16%</c:v>
                  </c:pt>
                  <c:pt idx="6">
                    <c:v>12%</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3</c:v>
                </c:pt>
                <c:pt idx="1">
                  <c:v>37</c:v>
                </c:pt>
                <c:pt idx="2">
                  <c:v>9</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8</c:v>
                </c:pt>
                <c:pt idx="1">
                  <c:v>35</c:v>
                </c:pt>
                <c:pt idx="2">
                  <c:v>5</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5%</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c:v>
                </c:pt>
                <c:pt idx="1">
                  <c:v>0.92</c:v>
                </c:pt>
                <c:pt idx="2">
                  <c:v>0.85</c:v>
                </c:pt>
                <c:pt idx="3">
                  <c:v>0.87</c:v>
                </c:pt>
                <c:pt idx="4">
                  <c:v>0.7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BF4C0788-69F3-47A7-A967-901945D72D5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962E8E5E-2768-4F7F-8A03-C4B3D691EDC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22504B5E-4A36-488E-8136-880049800DF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D3A8C878-2D3E-46B0-9896-3D22F674123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c:v>
                </c:pt>
                <c:pt idx="1">
                  <c:v>0.08</c:v>
                </c:pt>
                <c:pt idx="2">
                  <c:v>0.15</c:v>
                </c:pt>
                <c:pt idx="3">
                  <c:v>0.13</c:v>
                </c:pt>
                <c:pt idx="4">
                  <c:v>0.2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0%</c:v>
                  </c:pt>
                  <c:pt idx="1">
                    <c:v>92%</c:v>
                  </c:pt>
                  <c:pt idx="2">
                    <c:v>85%</c:v>
                  </c:pt>
                  <c:pt idx="3">
                    <c:v>87%</c:v>
                  </c:pt>
                  <c:pt idx="4">
                    <c:v>78%</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WEST YORKSHIRE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WEST YORKSHIRE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WEST YORKSHIRE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WEST YORKSHIRE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WEST YORKSHIRE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WEST YORKSHIRE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434632042"/>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blood test check as part of their last annual review
Healthcare professionals providing support in taking part in physical activity
Healthcare professionals providing support with eating well</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243861166"/>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262913499"/>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foot check as part of their last annual review
Participating in a course about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280628660"/>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WEST YORK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1513996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77267330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84% of respondents who were marked as Type 1 in the sample selected ‘Type 1’, 10% selected ‘Type 2’, 2% selected ‘Other’ and 4% selected ‘I don’t know’ ​</a:t>
            </a:r>
          </a:p>
          <a:p>
            <a:pPr marL="171450" indent="-171450">
              <a:buFont typeface="Arial" panose="020B0604020202020204" pitchFamily="34" charset="0"/>
              <a:buChar char="•"/>
              <a:defRPr/>
            </a:pPr>
            <a:r>
              <a:rPr lang="en-GB" sz="1200" dirty="0">
                <a:solidFill>
                  <a:schemeClr val="tx1"/>
                </a:solidFill>
                <a:effectLst/>
              </a:rPr>
              <a:t>86% of respondents who were marked as Type 2 in the sample selected ‘Type 2’, 5% selected ‘Type 1’, 2% selected ‘Other’ and 7%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98); Type 2, ICS (683)).</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918621144"/>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105563695"/>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2518892170"/>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60699607"/>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39046462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425); Type 2, National (19,941), ICS (551))</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328011257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85175565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438); Type 2, National (22,278), ICS (614))</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34581332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388142394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416); Type 2, National (21,082), ICS (604))</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5304315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92866506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96); Type 2, National (24,180), ICS (680))</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931977279"/>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734412171"/>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281192383"/>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2547678096"/>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411048455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63); Type 2, National (22,482), ICS (633))</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08443038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50233357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191648945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320212498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183039350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0060609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214274194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83152035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219388796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73); Type 2, National (22,670), ICS (636))</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132838571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235745724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337299932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96849233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77116552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40576124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92424480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422415363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145553171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93); Type 2, National (24,076), ICS (676))</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7852960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350288981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349850660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34023253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246878159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59659288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419312042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394910304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92); Type 2, National (24,153), ICS (682))</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405139081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140773449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63740641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25008376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9194298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302643748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133376227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18204847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406184004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91); Type 2, National (24,135), ICS (68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39145962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213002863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328027828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293317296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326389706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286209182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262363532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85534771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195046522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92); Type 2, National (24,084), ICS (68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264158123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278545300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394048308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151730177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217987253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36552477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232414444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235969239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5611483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92); Type 2, National (24,070), ICS (67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38616821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007236331"/>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34549236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4173371855"/>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3156415769"/>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7694949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1835331108"/>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45908301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84050137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92); Type 2, National (24,260), ICS (684))</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380600155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22575318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229073220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7829820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263626131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73360907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367121976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73142430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169236875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94); Type 2, National (24,267), ICS (683))</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150569119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185400651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93731607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238945829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116938322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423157805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413763748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4022749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52152341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94); Type 2, National (24,196), ICS (683))</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36433521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296161163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100955428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94); Type 2, National (24,019), ICS (676))</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18396983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94561679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19); Type 2, National (11,860), ICS (327))</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15230930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4508520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74); Type 2, National (21,228), ICS (583))</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83575359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115295236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455); Type 2, National (20,915), ICS (575))</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74147735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51522359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435); Type 2, National (20,086), ICS (561))</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55417117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177191603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452); Type 2, National (21,890), ICS (604))</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55505451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161912363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425); Type 2, National (18,585), ICS (534))</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365931815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294251507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135620258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89918536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22868372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56983901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291097319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139565647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76); Type 2, National (22,580), ICS (644))</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46645536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52940757"/>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2058805797"/>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3540469152"/>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138329406"/>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391121516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54); Type 2, National (12,350), ICS (345))</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178399902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1935511842"/>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275640553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159395323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378173793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70480605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00765874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257697603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73); Type 2, National (10,911), ICS (275))</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256523695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431579498"/>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537593821"/>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4164146381"/>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311939787"/>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69000064"/>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846385552"/>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70))</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704994639"/>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4028159744"/>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07568362"/>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278740567"/>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263311291"/>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671593453"/>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631))</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WEST YORKSHIRE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3,123</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186</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8%</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98</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688</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211</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912</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2841343449"/>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196302935"/>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991567316"/>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799738057"/>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4056870655"/>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1457301202"/>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2555720747"/>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WEST YORK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42301109"/>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74452449"/>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874224040"/>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Participating in a course about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523318132"/>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4</TotalTime>
  <Words>5280</Words>
  <Application>Microsoft Office PowerPoint</Application>
  <PresentationFormat>Widescreen</PresentationFormat>
  <Paragraphs>807</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HelveticaNeueLT Std Lt Cn</vt:lpstr>
      <vt:lpstr>Wingdings</vt:lpstr>
      <vt:lpstr>Barlow</vt:lpstr>
      <vt:lpstr>Roboto</vt:lpstr>
      <vt:lpstr>Arial Black</vt:lpstr>
      <vt:lpstr>Arial</vt:lpstr>
      <vt:lpstr>Wingdings 3</vt:lpstr>
      <vt:lpstr>Segoe UI</vt:lpstr>
      <vt:lpstr>Arial (Body)</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Katherine Fisher</cp:lastModifiedBy>
  <cp:revision>172</cp:revision>
  <cp:lastPrinted>2024-09-17T13:37:47Z</cp:lastPrinted>
  <dcterms:created xsi:type="dcterms:W3CDTF">2024-06-17T14:42:21Z</dcterms:created>
  <dcterms:modified xsi:type="dcterms:W3CDTF">2024-12-04T10:5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